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1413" r:id="rId2"/>
    <p:sldId id="2237" r:id="rId3"/>
    <p:sldId id="2185" r:id="rId4"/>
    <p:sldId id="2226" r:id="rId5"/>
    <p:sldId id="2227" r:id="rId6"/>
    <p:sldId id="2228" r:id="rId7"/>
    <p:sldId id="2229" r:id="rId8"/>
    <p:sldId id="2230" r:id="rId9"/>
    <p:sldId id="2231" r:id="rId10"/>
    <p:sldId id="2232" r:id="rId11"/>
    <p:sldId id="2172" r:id="rId12"/>
    <p:sldId id="2235" r:id="rId13"/>
    <p:sldId id="2233" r:id="rId14"/>
  </p:sldIdLst>
  <p:sldSz cx="12192000" cy="6858000"/>
  <p:notesSz cx="6858000" cy="9144000"/>
  <p:custDataLst>
    <p:tags r:id="rId1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CC99"/>
    <a:srgbClr val="7191D1"/>
    <a:srgbClr val="B0C2E5"/>
    <a:srgbClr val="F2F2F2"/>
    <a:srgbClr val="CC99FF"/>
    <a:srgbClr val="FF9933"/>
    <a:srgbClr val="FF9966"/>
    <a:srgbClr val="FF6600"/>
    <a:srgbClr val="3153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67" d="100"/>
          <a:sy n="67" d="100"/>
        </p:scale>
        <p:origin x="752" y="4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421979426879203"/>
          <c:y val="0.15289779551144775"/>
          <c:w val="0.71169677772137596"/>
          <c:h val="0.7919788987481927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38.192806671264997</c:v>
                </c:pt>
                <c:pt idx="1">
                  <c:v>46.496416975922997</c:v>
                </c:pt>
                <c:pt idx="2">
                  <c:v>45.749603747793003</c:v>
                </c:pt>
                <c:pt idx="3">
                  <c:v>40.330583160613998</c:v>
                </c:pt>
                <c:pt idx="5">
                  <c:v>37.106737622337</c:v>
                </c:pt>
                <c:pt idx="6">
                  <c:v>36.622040613842003</c:v>
                </c:pt>
                <c:pt idx="7">
                  <c:v>37.299930514901</c:v>
                </c:pt>
                <c:pt idx="8">
                  <c:v>37.766029827998999</c:v>
                </c:pt>
                <c:pt idx="9">
                  <c:v>38.297718062020998</c:v>
                </c:pt>
                <c:pt idx="10">
                  <c:v>38.196743789434997</c:v>
                </c:pt>
                <c:pt idx="11">
                  <c:v>38.4949621505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4B-4255-9B61-E6E850493DE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25.876384828426001</c:v>
                </c:pt>
                <c:pt idx="1">
                  <c:v>27.977830211276999</c:v>
                </c:pt>
                <c:pt idx="2">
                  <c:v>28.513409949602</c:v>
                </c:pt>
                <c:pt idx="3">
                  <c:v>27.324760977707999</c:v>
                </c:pt>
                <c:pt idx="5">
                  <c:v>24.516303383354</c:v>
                </c:pt>
                <c:pt idx="6">
                  <c:v>25.096116815382999</c:v>
                </c:pt>
                <c:pt idx="7">
                  <c:v>25.100161232411999</c:v>
                </c:pt>
                <c:pt idx="8">
                  <c:v>24.903045395166</c:v>
                </c:pt>
                <c:pt idx="9">
                  <c:v>24.300611316718001</c:v>
                </c:pt>
                <c:pt idx="10">
                  <c:v>24.446974005647998</c:v>
                </c:pt>
                <c:pt idx="11">
                  <c:v>25.7114794970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4B-4255-9B61-E6E850493DE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0.86555718737099996</c:v>
                </c:pt>
                <c:pt idx="1">
                  <c:v>0.87022386299499999</c:v>
                </c:pt>
                <c:pt idx="2">
                  <c:v>0.88229755093999995</c:v>
                </c:pt>
                <c:pt idx="3">
                  <c:v>0.91400525826800005</c:v>
                </c:pt>
                <c:pt idx="5">
                  <c:v>0.72236937153799996</c:v>
                </c:pt>
                <c:pt idx="6">
                  <c:v>0.75320334989100002</c:v>
                </c:pt>
                <c:pt idx="7">
                  <c:v>0.779177557287</c:v>
                </c:pt>
                <c:pt idx="8">
                  <c:v>0.79312268669700003</c:v>
                </c:pt>
                <c:pt idx="9">
                  <c:v>0.78505558566800004</c:v>
                </c:pt>
                <c:pt idx="10">
                  <c:v>0.83713511237299998</c:v>
                </c:pt>
                <c:pt idx="11">
                  <c:v>0.898942901574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4B-4255-9B61-E6E850493DE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4.25745462646</c:v>
                </c:pt>
                <c:pt idx="1">
                  <c:v>10.601338129125001</c:v>
                </c:pt>
                <c:pt idx="2">
                  <c:v>10.879465890772</c:v>
                </c:pt>
                <c:pt idx="3">
                  <c:v>14.11895882536</c:v>
                </c:pt>
                <c:pt idx="5">
                  <c:v>13.673693752204001</c:v>
                </c:pt>
                <c:pt idx="6">
                  <c:v>14.822877433924999</c:v>
                </c:pt>
                <c:pt idx="7">
                  <c:v>14.644415444431001</c:v>
                </c:pt>
                <c:pt idx="8">
                  <c:v>14.744243958197</c:v>
                </c:pt>
                <c:pt idx="9">
                  <c:v>14.077658402103999</c:v>
                </c:pt>
                <c:pt idx="10">
                  <c:v>14.135640552778</c:v>
                </c:pt>
                <c:pt idx="11">
                  <c:v>13.52699829798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4B-4255-9B61-E6E850493DE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9.1853904262000005E-2</c:v>
                </c:pt>
                <c:pt idx="1">
                  <c:v>0.10174857839900001</c:v>
                </c:pt>
                <c:pt idx="2">
                  <c:v>0.10086522198599999</c:v>
                </c:pt>
                <c:pt idx="3">
                  <c:v>9.5761859347999995E-2</c:v>
                </c:pt>
                <c:pt idx="5">
                  <c:v>6.5904239298999995E-2</c:v>
                </c:pt>
                <c:pt idx="6">
                  <c:v>6.5927323285000006E-2</c:v>
                </c:pt>
                <c:pt idx="7">
                  <c:v>7.0234667742000004E-2</c:v>
                </c:pt>
                <c:pt idx="8">
                  <c:v>7.3005116480999999E-2</c:v>
                </c:pt>
                <c:pt idx="9">
                  <c:v>7.3444157671000002E-2</c:v>
                </c:pt>
                <c:pt idx="10">
                  <c:v>7.3425787623000005E-2</c:v>
                </c:pt>
                <c:pt idx="11">
                  <c:v>7.8574081884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4B-4255-9B61-E6E850493DE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0.48254602950499997</c:v>
                </c:pt>
                <c:pt idx="1">
                  <c:v>0.539826017416</c:v>
                </c:pt>
                <c:pt idx="2">
                  <c:v>0.53877009082000005</c:v>
                </c:pt>
                <c:pt idx="3">
                  <c:v>0.50850978068499997</c:v>
                </c:pt>
                <c:pt idx="5">
                  <c:v>0.22967075125600001</c:v>
                </c:pt>
                <c:pt idx="6">
                  <c:v>0.22754717720000001</c:v>
                </c:pt>
                <c:pt idx="7">
                  <c:v>0.24758282556200001</c:v>
                </c:pt>
                <c:pt idx="8">
                  <c:v>0.240719573263</c:v>
                </c:pt>
                <c:pt idx="9">
                  <c:v>0.270443931523</c:v>
                </c:pt>
                <c:pt idx="10">
                  <c:v>0.30571090360699998</c:v>
                </c:pt>
                <c:pt idx="11">
                  <c:v>0.289196273607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64B-4255-9B61-E6E850493DE0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H$2:$H$13</c:f>
              <c:numCache>
                <c:formatCode>General</c:formatCode>
                <c:ptCount val="12"/>
                <c:pt idx="0">
                  <c:v>20.233396752708</c:v>
                </c:pt>
                <c:pt idx="1">
                  <c:v>13.412616224861999</c:v>
                </c:pt>
                <c:pt idx="2">
                  <c:v>13.335587548085</c:v>
                </c:pt>
                <c:pt idx="3">
                  <c:v>16.707420138014001</c:v>
                </c:pt>
                <c:pt idx="5">
                  <c:v>23.68532088001</c:v>
                </c:pt>
                <c:pt idx="6">
                  <c:v>22.412287286470999</c:v>
                </c:pt>
                <c:pt idx="7">
                  <c:v>21.858497757662999</c:v>
                </c:pt>
                <c:pt idx="8">
                  <c:v>21.479833442195002</c:v>
                </c:pt>
                <c:pt idx="9">
                  <c:v>22.195068544291001</c:v>
                </c:pt>
                <c:pt idx="10">
                  <c:v>22.004369848532001</c:v>
                </c:pt>
                <c:pt idx="11">
                  <c:v>20.99984679733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4B-4255-9B61-E6E850493D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621546842079E-3"/>
          <c:y val="4.1173005736514182E-2"/>
          <c:w val="0.99538389239985303"/>
          <c:h val="4.585139994789885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05-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982754074623003</c:v>
                </c:pt>
                <c:pt idx="1">
                  <c:v>91.754929322462004</c:v>
                </c:pt>
                <c:pt idx="2">
                  <c:v>81.828254164666006</c:v>
                </c:pt>
                <c:pt idx="3">
                  <c:v>78.221669939212006</c:v>
                </c:pt>
                <c:pt idx="4">
                  <c:v>72.538145297021998</c:v>
                </c:pt>
                <c:pt idx="5">
                  <c:v>64.321126772043002</c:v>
                </c:pt>
                <c:pt idx="6">
                  <c:v>67.168697612076002</c:v>
                </c:pt>
                <c:pt idx="7">
                  <c:v>22.452840851653999</c:v>
                </c:pt>
                <c:pt idx="8">
                  <c:v>75.986045646012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9D-47E9-97C6-135EE347D8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05-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789527312378993</c:v>
                </c:pt>
                <c:pt idx="1">
                  <c:v>91.294499690864001</c:v>
                </c:pt>
                <c:pt idx="2">
                  <c:v>81.541479470799004</c:v>
                </c:pt>
                <c:pt idx="3">
                  <c:v>77.781860295586995</c:v>
                </c:pt>
                <c:pt idx="4">
                  <c:v>72.030179508272994</c:v>
                </c:pt>
                <c:pt idx="5">
                  <c:v>63.480571455351999</c:v>
                </c:pt>
                <c:pt idx="6">
                  <c:v>66.120922316926993</c:v>
                </c:pt>
                <c:pt idx="7">
                  <c:v>22.098475640575</c:v>
                </c:pt>
                <c:pt idx="8">
                  <c:v>75.344471050197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9D-47E9-97C6-135EE347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7.564392395211001</c:v>
                </c:pt>
                <c:pt idx="1">
                  <c:v>91.566274114878993</c:v>
                </c:pt>
                <c:pt idx="2">
                  <c:v>81.696106003845998</c:v>
                </c:pt>
                <c:pt idx="3">
                  <c:v>76.396541999305001</c:v>
                </c:pt>
                <c:pt idx="4">
                  <c:v>70.128218888549</c:v>
                </c:pt>
                <c:pt idx="5">
                  <c:v>59.630646315542002</c:v>
                </c:pt>
                <c:pt idx="6">
                  <c:v>60.396315936366001</c:v>
                </c:pt>
                <c:pt idx="7">
                  <c:v>21.599646641054999</c:v>
                </c:pt>
                <c:pt idx="8">
                  <c:v>73.0605623858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5D-4F82-B544-891C0F95F72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7.253085275914003</c:v>
                </c:pt>
                <c:pt idx="1">
                  <c:v>91.339310541781003</c:v>
                </c:pt>
                <c:pt idx="2">
                  <c:v>81.495459042451998</c:v>
                </c:pt>
                <c:pt idx="3">
                  <c:v>76.132419298854003</c:v>
                </c:pt>
                <c:pt idx="4">
                  <c:v>69.829757019838993</c:v>
                </c:pt>
                <c:pt idx="5">
                  <c:v>59.172425579184001</c:v>
                </c:pt>
                <c:pt idx="6">
                  <c:v>59.956617751467</c:v>
                </c:pt>
                <c:pt idx="7">
                  <c:v>21.360199461825001</c:v>
                </c:pt>
                <c:pt idx="8">
                  <c:v>72.741966541601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5D-4F82-B544-891C0F95F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9.030880128147999</c:v>
                </c:pt>
                <c:pt idx="1">
                  <c:v>91.752562571083004</c:v>
                </c:pt>
                <c:pt idx="2">
                  <c:v>81.833958073025002</c:v>
                </c:pt>
                <c:pt idx="3">
                  <c:v>77.396152407524994</c:v>
                </c:pt>
                <c:pt idx="4">
                  <c:v>71.165935865603004</c:v>
                </c:pt>
                <c:pt idx="5">
                  <c:v>60.484669851602</c:v>
                </c:pt>
                <c:pt idx="6">
                  <c:v>61.701019016506002</c:v>
                </c:pt>
                <c:pt idx="7">
                  <c:v>21.530733736337002</c:v>
                </c:pt>
                <c:pt idx="8">
                  <c:v>73.669265775151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0C-4258-B2E9-3390F07AA8C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8.728308267331002</c:v>
                </c:pt>
                <c:pt idx="1">
                  <c:v>91.532249411663003</c:v>
                </c:pt>
                <c:pt idx="2">
                  <c:v>81.634254957869999</c:v>
                </c:pt>
                <c:pt idx="3">
                  <c:v>77.121179955315995</c:v>
                </c:pt>
                <c:pt idx="4">
                  <c:v>70.862923858326994</c:v>
                </c:pt>
                <c:pt idx="5">
                  <c:v>60.031328840588003</c:v>
                </c:pt>
                <c:pt idx="6">
                  <c:v>61.269670099636002</c:v>
                </c:pt>
                <c:pt idx="7">
                  <c:v>21.263994849180001</c:v>
                </c:pt>
                <c:pt idx="8">
                  <c:v>73.336880313273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0C-4258-B2E9-3390F07AA8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1.727262344386006</c:v>
                </c:pt>
                <c:pt idx="1">
                  <c:v>91.806180689512004</c:v>
                </c:pt>
                <c:pt idx="2">
                  <c:v>81.823046406494996</c:v>
                </c:pt>
                <c:pt idx="3">
                  <c:v>77.629900153340003</c:v>
                </c:pt>
                <c:pt idx="4">
                  <c:v>71.251337089865004</c:v>
                </c:pt>
                <c:pt idx="5">
                  <c:v>60.727425138546003</c:v>
                </c:pt>
                <c:pt idx="6">
                  <c:v>62.146476769616001</c:v>
                </c:pt>
                <c:pt idx="7">
                  <c:v>21.920942071207001</c:v>
                </c:pt>
                <c:pt idx="8">
                  <c:v>74.046211510175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F6-40CB-8CD6-67928DF8B39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333231811779001</c:v>
                </c:pt>
                <c:pt idx="1">
                  <c:v>91.548982718518999</c:v>
                </c:pt>
                <c:pt idx="2">
                  <c:v>81.603468954700006</c:v>
                </c:pt>
                <c:pt idx="3">
                  <c:v>77.355994896466001</c:v>
                </c:pt>
                <c:pt idx="4">
                  <c:v>70.969820930658997</c:v>
                </c:pt>
                <c:pt idx="5">
                  <c:v>60.229124947608</c:v>
                </c:pt>
                <c:pt idx="6">
                  <c:v>61.676001493572002</c:v>
                </c:pt>
                <c:pt idx="7">
                  <c:v>21.644944647182999</c:v>
                </c:pt>
                <c:pt idx="8">
                  <c:v>73.718081320870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F6-40CB-8CD6-67928DF8B3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853364861079996</c:v>
                </c:pt>
                <c:pt idx="1">
                  <c:v>91.468270090191993</c:v>
                </c:pt>
                <c:pt idx="2">
                  <c:v>81.201233100986002</c:v>
                </c:pt>
                <c:pt idx="3">
                  <c:v>76.766543565079004</c:v>
                </c:pt>
                <c:pt idx="4">
                  <c:v>69.880281511646004</c:v>
                </c:pt>
                <c:pt idx="5">
                  <c:v>60.154105748794997</c:v>
                </c:pt>
                <c:pt idx="6">
                  <c:v>61.685227885982997</c:v>
                </c:pt>
                <c:pt idx="7">
                  <c:v>21.191280283308</c:v>
                </c:pt>
                <c:pt idx="8">
                  <c:v>73.881808555247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44-4C97-A806-76CD7E1DDB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2.508011574001998</c:v>
                </c:pt>
                <c:pt idx="1">
                  <c:v>91.241434414018997</c:v>
                </c:pt>
                <c:pt idx="2">
                  <c:v>80.994256114855006</c:v>
                </c:pt>
                <c:pt idx="3">
                  <c:v>76.491175333876996</c:v>
                </c:pt>
                <c:pt idx="4">
                  <c:v>69.579929199651005</c:v>
                </c:pt>
                <c:pt idx="5">
                  <c:v>59.654303320267999</c:v>
                </c:pt>
                <c:pt idx="6">
                  <c:v>61.229946524063998</c:v>
                </c:pt>
                <c:pt idx="7">
                  <c:v>20.912193062688999</c:v>
                </c:pt>
                <c:pt idx="8">
                  <c:v>73.539412648660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44-4C97-A806-76CD7E1DD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412326944016996</c:v>
                </c:pt>
                <c:pt idx="1">
                  <c:v>91.103670392864004</c:v>
                </c:pt>
                <c:pt idx="2">
                  <c:v>80.928573967229994</c:v>
                </c:pt>
                <c:pt idx="3">
                  <c:v>76.435052283285998</c:v>
                </c:pt>
                <c:pt idx="4">
                  <c:v>69.638229353252001</c:v>
                </c:pt>
                <c:pt idx="5">
                  <c:v>59.581197950031999</c:v>
                </c:pt>
                <c:pt idx="6">
                  <c:v>61.972271963262997</c:v>
                </c:pt>
                <c:pt idx="7">
                  <c:v>20.796919961632</c:v>
                </c:pt>
                <c:pt idx="8">
                  <c:v>73.200560957885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FC-4282-9746-C835D5D8CC2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2.042449487528998</c:v>
                </c:pt>
                <c:pt idx="1">
                  <c:v>90.820639484688002</c:v>
                </c:pt>
                <c:pt idx="2">
                  <c:v>80.676231207572002</c:v>
                </c:pt>
                <c:pt idx="3">
                  <c:v>76.127232271527006</c:v>
                </c:pt>
                <c:pt idx="4">
                  <c:v>69.281413163611006</c:v>
                </c:pt>
                <c:pt idx="5">
                  <c:v>59.001784570330003</c:v>
                </c:pt>
                <c:pt idx="6">
                  <c:v>61.472420270908003</c:v>
                </c:pt>
                <c:pt idx="7">
                  <c:v>20.548465309602001</c:v>
                </c:pt>
                <c:pt idx="8">
                  <c:v>72.810667456573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C-4282-9746-C835D5D8CC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374280487259995</c:v>
                </c:pt>
                <c:pt idx="1">
                  <c:v>90.250122869704001</c:v>
                </c:pt>
                <c:pt idx="2">
                  <c:v>80.345668948104006</c:v>
                </c:pt>
                <c:pt idx="3">
                  <c:v>76.489438160958997</c:v>
                </c:pt>
                <c:pt idx="4">
                  <c:v>69.985702080172004</c:v>
                </c:pt>
                <c:pt idx="5">
                  <c:v>60.410041413160002</c:v>
                </c:pt>
                <c:pt idx="6">
                  <c:v>62.650504393101002</c:v>
                </c:pt>
                <c:pt idx="7">
                  <c:v>20.868636918602</c:v>
                </c:pt>
                <c:pt idx="8">
                  <c:v>74.23188731164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23-4982-9BAE-718503394ED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977154076123</c:v>
                </c:pt>
                <c:pt idx="1">
                  <c:v>90.005047620311998</c:v>
                </c:pt>
                <c:pt idx="2">
                  <c:v>80.086388931347003</c:v>
                </c:pt>
                <c:pt idx="3">
                  <c:v>76.132783580920005</c:v>
                </c:pt>
                <c:pt idx="4">
                  <c:v>69.614740806610996</c:v>
                </c:pt>
                <c:pt idx="5">
                  <c:v>59.822588066873998</c:v>
                </c:pt>
                <c:pt idx="6">
                  <c:v>62.038317604946002</c:v>
                </c:pt>
                <c:pt idx="7">
                  <c:v>20.579050377013999</c:v>
                </c:pt>
                <c:pt idx="8">
                  <c:v>73.818338608473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23-4982-9BAE-718503394E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4.585677026050007</c:v>
                </c:pt>
                <c:pt idx="1">
                  <c:v>90.871345366471999</c:v>
                </c:pt>
                <c:pt idx="2">
                  <c:v>80.686382347548999</c:v>
                </c:pt>
                <c:pt idx="3">
                  <c:v>76.533728913485007</c:v>
                </c:pt>
                <c:pt idx="4">
                  <c:v>72.330899162486006</c:v>
                </c:pt>
                <c:pt idx="5">
                  <c:v>64.808951715953995</c:v>
                </c:pt>
                <c:pt idx="6">
                  <c:v>68.436653320618007</c:v>
                </c:pt>
                <c:pt idx="7">
                  <c:v>25.739815010068</c:v>
                </c:pt>
                <c:pt idx="8">
                  <c:v>75.31635559254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4F-45D5-8906-2A772ED970B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4.168787774040993</c:v>
                </c:pt>
                <c:pt idx="1">
                  <c:v>90.583972473713004</c:v>
                </c:pt>
                <c:pt idx="2">
                  <c:v>80.434728263585995</c:v>
                </c:pt>
                <c:pt idx="3">
                  <c:v>76.147657899240997</c:v>
                </c:pt>
                <c:pt idx="4">
                  <c:v>71.947625599964994</c:v>
                </c:pt>
                <c:pt idx="5">
                  <c:v>64.322916666666003</c:v>
                </c:pt>
                <c:pt idx="6">
                  <c:v>67.966041594226994</c:v>
                </c:pt>
                <c:pt idx="7">
                  <c:v>25.372233317207002</c:v>
                </c:pt>
                <c:pt idx="8">
                  <c:v>74.924367429030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4F-45D5-8906-2A772ED97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7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567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547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953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513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notesSlide" Target="../notesSlides/notes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3840861"/>
            <a:ext cx="12192000" cy="1956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400" dirty="0">
                <a:solidFill>
                  <a:schemeClr val="tx1"/>
                </a:solidFill>
              </a:rPr>
              <a:t>Průběh vakcinace k 27. 3. 2022</a:t>
            </a:r>
          </a:p>
          <a:p>
            <a:r>
              <a:rPr lang="cs-CZ" sz="4400" b="0" i="1" dirty="0">
                <a:solidFill>
                  <a:schemeClr val="tx1"/>
                </a:solidFill>
              </a:rPr>
              <a:t>Stručná prezentace shrnující analýzu dle velikosti sídel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800" dirty="0"/>
              <a:t>Stav a vývoj epidemie COVID-19 </a:t>
            </a:r>
            <a:br>
              <a:rPr lang="cs-CZ" sz="4800" dirty="0"/>
            </a:br>
            <a:r>
              <a:rPr lang="cs-CZ" sz="4800" dirty="0"/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4189870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27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00 000 a více obyvatel (2 382 465 obyvatel, 6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FE759F90-0394-4F8C-BD0E-26FAB632990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482019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761CB2D4-BC7E-4C94-8AC8-F2AB1168D22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8F468458-0F79-403C-B5AA-486E3474AD1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473257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8225223"/>
              </p:ext>
            </p:ext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6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122 16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11 9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4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03 6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1.6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254 1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916 0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906 43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3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098 06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07 3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5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798 7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7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221 61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96 55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4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86 72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6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164 26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50 0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40 6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2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032 36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753 91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745 0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2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985 52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484 7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467 47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  -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150 8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-  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144 5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5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-  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8 878 1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 671 53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5.1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 593 20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.3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27. 3. 2022</a:t>
            </a:r>
          </a:p>
        </p:txBody>
      </p:sp>
    </p:spTree>
    <p:extLst>
      <p:ext uri="{BB962C8B-B14F-4D97-AF65-F5344CB8AC3E}">
        <p14:creationId xmlns:p14="http://schemas.microsoft.com/office/powerpoint/2010/main" val="20913175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0409"/>
              </p:ext>
            </p:ext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8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095 88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795 74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6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787 7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1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223 6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96 26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2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86 9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5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071 9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790 37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7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782 0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193 74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78 8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6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69 3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139 0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33 97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2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824 8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4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010 60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740 17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3.2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731 59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2.4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1 948 2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458 1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 441 4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9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  -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148 7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-  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142 55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5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-  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8 683 16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 542 2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5.3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 466 72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8.8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4.5 % 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8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27. 3. 2022</a:t>
            </a:r>
          </a:p>
        </p:txBody>
      </p:sp>
    </p:spTree>
    <p:extLst>
      <p:ext uri="{BB962C8B-B14F-4D97-AF65-F5344CB8AC3E}">
        <p14:creationId xmlns:p14="http://schemas.microsoft.com/office/powerpoint/2010/main" val="3631949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C1581183-162D-4098-A69E-5FB86936AC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718892"/>
              </p:ext>
            </p:extLst>
          </p:nvPr>
        </p:nvGraphicFramePr>
        <p:xfrm>
          <a:off x="1517005" y="1261913"/>
          <a:ext cx="10586736" cy="5510016"/>
        </p:xfrm>
        <a:graphic>
          <a:graphicData uri="http://schemas.openxmlformats.org/drawingml/2006/table">
            <a:tbl>
              <a:tblPr/>
              <a:tblGrid>
                <a:gridCol w="1176304">
                  <a:extLst>
                    <a:ext uri="{9D8B030D-6E8A-4147-A177-3AD203B41FA5}">
                      <a16:colId xmlns:a16="http://schemas.microsoft.com/office/drawing/2014/main" val="2407325004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013545472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236331083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168684982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556288137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579540205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1861415034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2695907527"/>
                    </a:ext>
                  </a:extLst>
                </a:gridCol>
                <a:gridCol w="1176304">
                  <a:extLst>
                    <a:ext uri="{9D8B030D-6E8A-4147-A177-3AD203B41FA5}">
                      <a16:colId xmlns:a16="http://schemas.microsoft.com/office/drawing/2014/main" val="1927294463"/>
                    </a:ext>
                  </a:extLst>
                </a:gridCol>
              </a:tblGrid>
              <a:tr h="344376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3276165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8C4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C2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A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C8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192772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597552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6733108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10307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553850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7822910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303377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535922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CA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A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676802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665877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E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5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5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346054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A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267581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9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F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5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57358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2051929"/>
                  </a:ext>
                </a:extLst>
              </a:tr>
              <a:tr h="34437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13066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lespoň 1 dávkou, věk 16 a více let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27. 3. 2022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CF1EBE3-09DA-405D-851E-6C6A4FA8FAC9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664139"/>
              </p:ext>
            </p:extLst>
          </p:nvPr>
        </p:nvGraphicFramePr>
        <p:xfrm>
          <a:off x="88257" y="689550"/>
          <a:ext cx="12015486" cy="6082385"/>
        </p:xfrm>
        <a:graphic>
          <a:graphicData uri="http://schemas.openxmlformats.org/drawingml/2006/table">
            <a:tbl>
              <a:tblPr/>
              <a:tblGrid>
                <a:gridCol w="1428678">
                  <a:extLst>
                    <a:ext uri="{9D8B030D-6E8A-4147-A177-3AD203B41FA5}">
                      <a16:colId xmlns:a16="http://schemas.microsoft.com/office/drawing/2014/main" val="3142138702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681493188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844908053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540180046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318157054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845873480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830060361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2688662673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853448349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296446822"/>
                    </a:ext>
                  </a:extLst>
                </a:gridCol>
              </a:tblGrid>
              <a:tr h="173437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ikost obc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1" i="0" u="none" strike="noStrike" noProof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128364"/>
                  </a:ext>
                </a:extLst>
              </a:tr>
              <a:tr h="3731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bydliště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519303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 092 / 1 111 28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0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 092/1 111 280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6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351133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705 / 269 9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3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309 / 238 5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9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628 / 181 3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7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116 / 214 15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4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314 / 172 7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0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794 / 57 2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4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 866/1 133 98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8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60699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356 / 122 88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323 / 81 2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2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678 / 74 8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4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825 / 87 2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4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127 / 90 16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7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775 / 78 45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9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 084/534 75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4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555380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156 / 95 66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209 / 75 83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8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128 / 90 92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9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079 / 65 00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932 / 18 73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3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523 / 146 9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8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 027/493 070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110315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586 / 28 74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6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435 / 33 8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764 / 37 29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432 / 58 90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3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953 / 45 76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8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282 / 41 4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7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452/245 932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0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68410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599 / 80 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5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753 / 79 53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8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147 / 62 3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731 / 101 98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3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445 / 140 169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0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758 / 212 26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9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 433/677 309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12257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729 / 49 17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6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058 / 46 31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3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720 / 53 96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248 / 61 96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4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036 / 68 2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8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490 / 85 82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9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ĚLENÍ_NULOU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281/365 503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76870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935 / 104 0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0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472 / 72 4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659 / 44 45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703 / 118 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7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275 / 41 69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0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703 / 77 63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1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747/459 21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80054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248 / 101 15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197 / 73 1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3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135 / 48 0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1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639 / 115 80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45 / 19 16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4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083 / 76 88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2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947/434 172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466680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124 / 137 80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2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469 / 52 28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4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296 / 58 32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6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275 / 66 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2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061 / 66 4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3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244 / 42 4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0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 469/424 066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7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101163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011 / 154 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153 / 176 82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488 / 143 1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416 / 92 63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489 / 103 96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6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206 / 319 41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8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 763/990 788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218743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029 / 99 20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5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500 / 102 8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5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717 / 67 3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9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891 / 78 8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3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155 / 93 9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3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025 / 82 9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5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ĚLENÍ_NULOU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 317/525 10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8.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146490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165 / 75 3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8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290 / 98 5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3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340 / 82 2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7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819 / 66 9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9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696 / 100 25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5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375 / 62 37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9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 685/485 727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0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802399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56 / 51 89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5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314 / 121 09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238 / 135 8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0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951 / 105 3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2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671 / 147 61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1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885 / 196 35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7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384 / 239 13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0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 499/997 281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9.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736442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50 8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8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61435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4 699/1 371 572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 482/1 252 479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 938/1 080 171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 125/1 234 490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 799/1 108 903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 414/1 013 838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0 205/1 816 731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4.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50 877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71 539/8 878 184</a:t>
                      </a:r>
                      <a:b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562237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2281DE67-E341-4287-A491-FA5FF69EE8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057" y="554759"/>
            <a:ext cx="1533524" cy="35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>
              <a:lnSpc>
                <a:spcPts val="1000"/>
              </a:lnSpc>
            </a:pP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Očkovaní / obyvatelstvo</a:t>
            </a:r>
            <a:b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(podíl %)</a:t>
            </a:r>
          </a:p>
        </p:txBody>
      </p:sp>
    </p:spTree>
    <p:extLst>
      <p:ext uri="{BB962C8B-B14F-4D97-AF65-F5344CB8AC3E}">
        <p14:creationId xmlns:p14="http://schemas.microsoft.com/office/powerpoint/2010/main" val="703657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EA07EF69-E822-480B-8581-2B84270B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6623728"/>
              </p:ext>
            </p:extLst>
          </p:nvPr>
        </p:nvGraphicFramePr>
        <p:xfrm>
          <a:off x="133350" y="742950"/>
          <a:ext cx="11837679" cy="5789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27. 3. 2022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Zdroj dat: Centrální rezervační systém; ISIN / COVID-19 - Informační systém infekční nemo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589194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678805"/>
              </p:ext>
            </p:extLst>
          </p:nvPr>
        </p:nvGraphicFramePr>
        <p:xfrm>
          <a:off x="10803138" y="1608754"/>
          <a:ext cx="1333315" cy="4601544"/>
        </p:xfrm>
        <a:graphic>
          <a:graphicData uri="http://schemas.openxmlformats.org/drawingml/2006/table">
            <a:tbl>
              <a:tblPr/>
              <a:tblGrid>
                <a:gridCol w="68580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  <a:gridCol w="647515">
                  <a:extLst>
                    <a:ext uri="{9D8B030D-6E8A-4147-A177-3AD203B41FA5}">
                      <a16:colId xmlns:a16="http://schemas.microsoft.com/office/drawing/2014/main" val="1988768172"/>
                    </a:ext>
                  </a:extLst>
                </a:gridCol>
              </a:tblGrid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741383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34 5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67720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186940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8 0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 99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4 09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 7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 89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2 5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2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694639" y="1180677"/>
            <a:ext cx="96051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yvatelstvo </a:t>
            </a:r>
          </a:p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1. 1. 2021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DE88B8D6-CC63-4A18-A0A2-C12CA14C6C9E}"/>
              </a:ext>
            </a:extLst>
          </p:cNvPr>
          <p:cNvSpPr/>
          <p:nvPr/>
        </p:nvSpPr>
        <p:spPr>
          <a:xfrm>
            <a:off x="11418668" y="3266652"/>
            <a:ext cx="7697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čet obcí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E4438AD-C19F-4800-86E5-D99FB2280CA5}"/>
              </a:ext>
            </a:extLst>
          </p:cNvPr>
          <p:cNvSpPr/>
          <p:nvPr/>
        </p:nvSpPr>
        <p:spPr>
          <a:xfrm>
            <a:off x="22619" y="3253093"/>
            <a:ext cx="21791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ce podle počtu obyvatel</a:t>
            </a:r>
            <a:endParaRPr lang="cs-CZ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37893DC9-287B-4677-8B4C-245EDD1E1EDD}"/>
              </a:ext>
            </a:extLst>
          </p:cNvPr>
          <p:cNvSpPr/>
          <p:nvPr/>
        </p:nvSpPr>
        <p:spPr>
          <a:xfrm>
            <a:off x="240021" y="6179768"/>
            <a:ext cx="117163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;</a:t>
            </a:r>
          </a:p>
          <a:p>
            <a:r>
              <a:rPr lang="cs-CZ" sz="1100" b="1" dirty="0">
                <a:solidFill>
                  <a:srgbClr val="FF0000"/>
                </a:solidFill>
              </a:rPr>
              <a:t>Prodělali onemocnění = osoby, které nebyly očkovány a ani nejsou přihlášeny k očkování a kdykoliv v minulosti prodělaly onemocnění COVID-19 podle dat ISIN.</a:t>
            </a:r>
          </a:p>
        </p:txBody>
      </p:sp>
    </p:spTree>
    <p:extLst>
      <p:ext uri="{BB962C8B-B14F-4D97-AF65-F5344CB8AC3E}">
        <p14:creationId xmlns:p14="http://schemas.microsoft.com/office/powerpoint/2010/main" val="3104865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27. 3. 2022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394D7A9E-99FA-4768-92F9-5B89BCF6149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250961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E059801-51AB-4C86-84F6-0A56BB1A9702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4D3D046A-6B0A-4D22-B358-88584987FE47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Celkový přehled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4817B73-F049-4743-BDB2-57E1F37CB4C1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859304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27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do 750 obyvatel (1 358 031 obyvatel, 4 247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08961D1-DDD6-49A8-A978-9E283C04DC3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18306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CDB5CBC3-FD57-43D3-AB0A-884EE3365B11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ABF4EE96-7434-418D-A305-0AB39405926D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318520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27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750 – 1 999 obyvatel (1 531 990 obyvatel, 1 294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1E7B9B15-9120-43B8-8524-207203EEEC6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09163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51A14B2E-6869-4520-A387-7FB8A904021C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3D5DC57C-C7FC-4406-966F-D92D9D54113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532486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27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2 000 – 4 999 obyvatel (1 334 099 obyvatel, 441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27EEF3F1-2537-48F1-9061-D953A2F8D8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141725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B25FF770-62F5-4448-8585-88A6EBCB9787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4D50749A-2209-4E42-8A7E-E4F3F600337B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443483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27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5 000 – 14 999 obyvatel (1 469 760 obyvatel, 18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A0B4B87C-1D23-4D8D-AE42-0728CA7F11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13738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CE92ECA-B9DE-4168-B7B9-1383901EBE83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2859E773-1151-4C8A-A400-568BDDFDE906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575029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27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5 000 – 39 999 obyvatel (1 392 895 obyvatel, 6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E2FB9686-F02D-456D-AB30-60BC6CC6E24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6914361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318C09F0-916B-4408-B222-363E03AF4EE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506DB690-38B5-477D-BD3A-14180D26F01F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1984157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27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40 000 – 99 999 obyvatel (1 232 537 obyvatel, 20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61B8D42-163F-4396-880D-44BDAB1F290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012138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4943663-80F7-4830-8580-68DFB365379E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10CC488C-1A0D-454F-B997-A65B0B8067F5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422985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892</TotalTime>
  <Words>2128</Words>
  <Application>Microsoft Office PowerPoint</Application>
  <PresentationFormat>Širokoúhlá obrazovka</PresentationFormat>
  <Paragraphs>345</Paragraphs>
  <Slides>13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3</vt:i4>
      </vt:variant>
    </vt:vector>
  </HeadingPairs>
  <TitlesOfParts>
    <vt:vector size="16" baseType="lpstr">
      <vt:lpstr>Arial</vt:lpstr>
      <vt:lpstr>Calibri</vt:lpstr>
      <vt:lpstr>Motiv Office</vt:lpstr>
      <vt:lpstr>Prezentace aplikace PowerPoint</vt:lpstr>
      <vt:lpstr>Stav očkování obyvatel v ČR k 27. 3. 2022</vt:lpstr>
      <vt:lpstr>Zájem o očkování, stav k 27. 3. 2022</vt:lpstr>
      <vt:lpstr>Zájem o očkování, stav k 27. 3. 2022</vt:lpstr>
      <vt:lpstr>Zájem o očkování, stav k 27. 3. 2022</vt:lpstr>
      <vt:lpstr>Zájem o očkování, stav k 27. 3. 2022</vt:lpstr>
      <vt:lpstr>Zájem o očkování, stav k 27. 3. 2022</vt:lpstr>
      <vt:lpstr>Zájem o očkování, stav k 27. 3. 2022</vt:lpstr>
      <vt:lpstr>Zájem o očkování, stav k 27. 3. 2022</vt:lpstr>
      <vt:lpstr>Zájem o očkování, stav k 27. 3. 2022</vt:lpstr>
      <vt:lpstr>Očkovaní 16 a více let – přehled podle velikosti obcí</vt:lpstr>
      <vt:lpstr>Očkovaní 18 a více let – přehled podle velikosti obcí</vt:lpstr>
      <vt:lpstr>Očkovaní alespoň 1 dávkou, věk 16 a více l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Bartůněk Vladimír</cp:lastModifiedBy>
  <cp:revision>607</cp:revision>
  <dcterms:created xsi:type="dcterms:W3CDTF">2020-11-14T10:09:00Z</dcterms:created>
  <dcterms:modified xsi:type="dcterms:W3CDTF">2022-03-27T06:36:53Z</dcterms:modified>
</cp:coreProperties>
</file>